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76"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E904AF1-F0BF-4174-B71C-D1E940C4BCE7}" v="54" dt="2023-02-28T00:03:01.08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01" d="100"/>
          <a:sy n="101" d="100"/>
        </p:scale>
        <p:origin x="144" y="828"/>
      </p:cViewPr>
      <p:guideLst>
        <p:guide orient="horz" pos="648"/>
        <p:guide pos="3576"/>
        <p:guide pos="7584"/>
        <p:guide orient="horz" pos="4032"/>
        <p:guide pos="96"/>
        <p:guide pos="2856"/>
        <p:guide pos="576"/>
        <p:guide orient="horz" pos="3840"/>
        <p:guide orient="horz" pos="816"/>
        <p:guide orient="horz" pos="1032"/>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7E904AF1-F0BF-4174-B71C-D1E940C4BCE7}"/>
    <pc:docChg chg="addSld delSld modSld">
      <pc:chgData name="Roberto Gallardo" userId="49a044883f185952" providerId="LiveId" clId="{7E904AF1-F0BF-4174-B71C-D1E940C4BCE7}" dt="2023-02-28T00:03:09.386" v="195" actId="1076"/>
      <pc:docMkLst>
        <pc:docMk/>
      </pc:docMkLst>
      <pc:sldChg chg="del">
        <pc:chgData name="Roberto Gallardo" userId="49a044883f185952" providerId="LiveId" clId="{7E904AF1-F0BF-4174-B71C-D1E940C4BCE7}" dt="2023-02-25T14:37:41.272" v="4" actId="47"/>
        <pc:sldMkLst>
          <pc:docMk/>
          <pc:sldMk cId="1175010214" sldId="261"/>
        </pc:sldMkLst>
      </pc:sldChg>
      <pc:sldChg chg="addSp modSp mod">
        <pc:chgData name="Roberto Gallardo" userId="49a044883f185952" providerId="LiveId" clId="{7E904AF1-F0BF-4174-B71C-D1E940C4BCE7}" dt="2023-02-27T23:57:00.415" v="13" actId="1076"/>
        <pc:sldMkLst>
          <pc:docMk/>
          <pc:sldMk cId="1418533539" sldId="271"/>
        </pc:sldMkLst>
        <pc:picChg chg="add mod">
          <ac:chgData name="Roberto Gallardo" userId="49a044883f185952" providerId="LiveId" clId="{7E904AF1-F0BF-4174-B71C-D1E940C4BCE7}" dt="2023-02-27T23:57:00.415" v="13" actId="1076"/>
          <ac:picMkLst>
            <pc:docMk/>
            <pc:sldMk cId="1418533539" sldId="271"/>
            <ac:picMk id="6" creationId="{FB7EB6C8-A634-7EA1-BE65-4BD3A50FBF53}"/>
          </ac:picMkLst>
        </pc:picChg>
      </pc:sldChg>
      <pc:sldChg chg="addSp modSp mod">
        <pc:chgData name="Roberto Gallardo" userId="49a044883f185952" providerId="LiveId" clId="{7E904AF1-F0BF-4174-B71C-D1E940C4BCE7}" dt="2023-02-27T23:59:29.642" v="75" actId="1076"/>
        <pc:sldMkLst>
          <pc:docMk/>
          <pc:sldMk cId="2124848710" sldId="281"/>
        </pc:sldMkLst>
        <pc:picChg chg="add mod">
          <ac:chgData name="Roberto Gallardo" userId="49a044883f185952" providerId="LiveId" clId="{7E904AF1-F0BF-4174-B71C-D1E940C4BCE7}" dt="2023-02-27T23:59:29.642" v="75" actId="1076"/>
          <ac:picMkLst>
            <pc:docMk/>
            <pc:sldMk cId="2124848710" sldId="281"/>
            <ac:picMk id="6" creationId="{41A4366E-1F15-45FB-1576-A5659400FD68}"/>
          </ac:picMkLst>
        </pc:picChg>
      </pc:sldChg>
      <pc:sldChg chg="addSp modSp mod">
        <pc:chgData name="Roberto Gallardo" userId="49a044883f185952" providerId="LiveId" clId="{7E904AF1-F0BF-4174-B71C-D1E940C4BCE7}" dt="2023-02-27T23:59:45.507" v="83" actId="1076"/>
        <pc:sldMkLst>
          <pc:docMk/>
          <pc:sldMk cId="2028175529" sldId="282"/>
        </pc:sldMkLst>
        <pc:picChg chg="add mod">
          <ac:chgData name="Roberto Gallardo" userId="49a044883f185952" providerId="LiveId" clId="{7E904AF1-F0BF-4174-B71C-D1E940C4BCE7}" dt="2023-02-27T23:59:45.507" v="83" actId="1076"/>
          <ac:picMkLst>
            <pc:docMk/>
            <pc:sldMk cId="2028175529" sldId="282"/>
            <ac:picMk id="7" creationId="{8976E2FA-ACBE-AF83-ED93-3EFE5E3F1B41}"/>
          </ac:picMkLst>
        </pc:picChg>
      </pc:sldChg>
      <pc:sldChg chg="addSp modSp mod">
        <pc:chgData name="Roberto Gallardo" userId="49a044883f185952" providerId="LiveId" clId="{7E904AF1-F0BF-4174-B71C-D1E940C4BCE7}" dt="2023-02-28T00:00:02.835" v="91" actId="1076"/>
        <pc:sldMkLst>
          <pc:docMk/>
          <pc:sldMk cId="1326517747" sldId="283"/>
        </pc:sldMkLst>
        <pc:picChg chg="add mod">
          <ac:chgData name="Roberto Gallardo" userId="49a044883f185952" providerId="LiveId" clId="{7E904AF1-F0BF-4174-B71C-D1E940C4BCE7}" dt="2023-02-28T00:00:02.835" v="91" actId="1076"/>
          <ac:picMkLst>
            <pc:docMk/>
            <pc:sldMk cId="1326517747" sldId="283"/>
            <ac:picMk id="7" creationId="{E2A0A632-BF6A-FAE6-DA05-FEC611648DAA}"/>
          </ac:picMkLst>
        </pc:picChg>
      </pc:sldChg>
      <pc:sldChg chg="addSp modSp mod">
        <pc:chgData name="Roberto Gallardo" userId="49a044883f185952" providerId="LiveId" clId="{7E904AF1-F0BF-4174-B71C-D1E940C4BCE7}" dt="2023-02-28T00:00:24.662" v="102" actId="1076"/>
        <pc:sldMkLst>
          <pc:docMk/>
          <pc:sldMk cId="783739251" sldId="284"/>
        </pc:sldMkLst>
        <pc:picChg chg="add mod">
          <ac:chgData name="Roberto Gallardo" userId="49a044883f185952" providerId="LiveId" clId="{7E904AF1-F0BF-4174-B71C-D1E940C4BCE7}" dt="2023-02-28T00:00:24.662" v="102" actId="1076"/>
          <ac:picMkLst>
            <pc:docMk/>
            <pc:sldMk cId="783739251" sldId="284"/>
            <ac:picMk id="7" creationId="{A553339A-C61E-9A4F-456C-55E1D65A95E2}"/>
          </ac:picMkLst>
        </pc:picChg>
      </pc:sldChg>
      <pc:sldChg chg="addSp modSp mod">
        <pc:chgData name="Roberto Gallardo" userId="49a044883f185952" providerId="LiveId" clId="{7E904AF1-F0BF-4174-B71C-D1E940C4BCE7}" dt="2023-02-28T00:00:42.293" v="113" actId="1076"/>
        <pc:sldMkLst>
          <pc:docMk/>
          <pc:sldMk cId="1676122233" sldId="285"/>
        </pc:sldMkLst>
        <pc:picChg chg="add mod">
          <ac:chgData name="Roberto Gallardo" userId="49a044883f185952" providerId="LiveId" clId="{7E904AF1-F0BF-4174-B71C-D1E940C4BCE7}" dt="2023-02-28T00:00:42.293" v="113" actId="1076"/>
          <ac:picMkLst>
            <pc:docMk/>
            <pc:sldMk cId="1676122233" sldId="285"/>
            <ac:picMk id="7" creationId="{50086737-A89D-A2CA-15FB-FBC992D02FE7}"/>
          </ac:picMkLst>
        </pc:picChg>
      </pc:sldChg>
      <pc:sldChg chg="addSp modSp mod">
        <pc:chgData name="Roberto Gallardo" userId="49a044883f185952" providerId="LiveId" clId="{7E904AF1-F0BF-4174-B71C-D1E940C4BCE7}" dt="2023-02-28T00:00:57.750" v="121" actId="1076"/>
        <pc:sldMkLst>
          <pc:docMk/>
          <pc:sldMk cId="3100398757" sldId="286"/>
        </pc:sldMkLst>
        <pc:picChg chg="add mod">
          <ac:chgData name="Roberto Gallardo" userId="49a044883f185952" providerId="LiveId" clId="{7E904AF1-F0BF-4174-B71C-D1E940C4BCE7}" dt="2023-02-28T00:00:57.750" v="121" actId="1076"/>
          <ac:picMkLst>
            <pc:docMk/>
            <pc:sldMk cId="3100398757" sldId="286"/>
            <ac:picMk id="7" creationId="{1EBE5B74-D106-B31A-CF14-2FF1FE007A88}"/>
          </ac:picMkLst>
        </pc:picChg>
      </pc:sldChg>
      <pc:sldChg chg="addSp modSp mod">
        <pc:chgData name="Roberto Gallardo" userId="49a044883f185952" providerId="LiveId" clId="{7E904AF1-F0BF-4174-B71C-D1E940C4BCE7}" dt="2023-02-28T00:01:14.614" v="131" actId="1076"/>
        <pc:sldMkLst>
          <pc:docMk/>
          <pc:sldMk cId="1546475425" sldId="287"/>
        </pc:sldMkLst>
        <pc:picChg chg="add mod">
          <ac:chgData name="Roberto Gallardo" userId="49a044883f185952" providerId="LiveId" clId="{7E904AF1-F0BF-4174-B71C-D1E940C4BCE7}" dt="2023-02-28T00:01:14.614" v="131" actId="1076"/>
          <ac:picMkLst>
            <pc:docMk/>
            <pc:sldMk cId="1546475425" sldId="287"/>
            <ac:picMk id="7" creationId="{AB9D14F1-27DC-B5CF-5DAE-C6720A4052AB}"/>
          </ac:picMkLst>
        </pc:picChg>
      </pc:sldChg>
      <pc:sldChg chg="addSp modSp mod">
        <pc:chgData name="Roberto Gallardo" userId="49a044883f185952" providerId="LiveId" clId="{7E904AF1-F0BF-4174-B71C-D1E940C4BCE7}" dt="2023-02-28T00:01:55.194" v="155" actId="1076"/>
        <pc:sldMkLst>
          <pc:docMk/>
          <pc:sldMk cId="1380517306" sldId="288"/>
        </pc:sldMkLst>
        <pc:picChg chg="add mod">
          <ac:chgData name="Roberto Gallardo" userId="49a044883f185952" providerId="LiveId" clId="{7E904AF1-F0BF-4174-B71C-D1E940C4BCE7}" dt="2023-02-28T00:01:55.194" v="155" actId="1076"/>
          <ac:picMkLst>
            <pc:docMk/>
            <pc:sldMk cId="1380517306" sldId="288"/>
            <ac:picMk id="7" creationId="{DDF3BB05-7A21-9AE3-5D5D-671468664E73}"/>
          </ac:picMkLst>
        </pc:picChg>
      </pc:sldChg>
      <pc:sldChg chg="addSp modSp mod">
        <pc:chgData name="Roberto Gallardo" userId="49a044883f185952" providerId="LiveId" clId="{7E904AF1-F0BF-4174-B71C-D1E940C4BCE7}" dt="2023-02-28T00:02:13.562" v="165" actId="1076"/>
        <pc:sldMkLst>
          <pc:docMk/>
          <pc:sldMk cId="1388671151" sldId="289"/>
        </pc:sldMkLst>
        <pc:picChg chg="add mod">
          <ac:chgData name="Roberto Gallardo" userId="49a044883f185952" providerId="LiveId" clId="{7E904AF1-F0BF-4174-B71C-D1E940C4BCE7}" dt="2023-02-28T00:02:13.562" v="165" actId="1076"/>
          <ac:picMkLst>
            <pc:docMk/>
            <pc:sldMk cId="1388671151" sldId="289"/>
            <ac:picMk id="7" creationId="{E215DF62-BF53-41CA-4939-973D6D90EEA3}"/>
          </ac:picMkLst>
        </pc:picChg>
      </pc:sldChg>
      <pc:sldChg chg="addSp modSp mod">
        <pc:chgData name="Roberto Gallardo" userId="49a044883f185952" providerId="LiveId" clId="{7E904AF1-F0BF-4174-B71C-D1E940C4BCE7}" dt="2023-02-28T00:02:54.043" v="186" actId="1076"/>
        <pc:sldMkLst>
          <pc:docMk/>
          <pc:sldMk cId="2355376039" sldId="290"/>
        </pc:sldMkLst>
        <pc:picChg chg="add mod">
          <ac:chgData name="Roberto Gallardo" userId="49a044883f185952" providerId="LiveId" clId="{7E904AF1-F0BF-4174-B71C-D1E940C4BCE7}" dt="2023-02-28T00:02:54.043" v="186" actId="1076"/>
          <ac:picMkLst>
            <pc:docMk/>
            <pc:sldMk cId="2355376039" sldId="290"/>
            <ac:picMk id="8" creationId="{F8753725-81CB-14B7-2A76-DF014EB3FDEA}"/>
          </ac:picMkLst>
        </pc:picChg>
      </pc:sldChg>
      <pc:sldChg chg="addSp modSp mod">
        <pc:chgData name="Roberto Gallardo" userId="49a044883f185952" providerId="LiveId" clId="{7E904AF1-F0BF-4174-B71C-D1E940C4BCE7}" dt="2023-02-28T00:03:09.386" v="195" actId="1076"/>
        <pc:sldMkLst>
          <pc:docMk/>
          <pc:sldMk cId="3757257295" sldId="291"/>
        </pc:sldMkLst>
        <pc:picChg chg="add mod">
          <ac:chgData name="Roberto Gallardo" userId="49a044883f185952" providerId="LiveId" clId="{7E904AF1-F0BF-4174-B71C-D1E940C4BCE7}" dt="2023-02-28T00:03:09.386" v="195" actId="1076"/>
          <ac:picMkLst>
            <pc:docMk/>
            <pc:sldMk cId="3757257295" sldId="291"/>
            <ac:picMk id="8" creationId="{DD536AE0-26C5-717C-DD33-426BADA3E42B}"/>
          </ac:picMkLst>
        </pc:picChg>
      </pc:sldChg>
      <pc:sldChg chg="addSp modSp mod">
        <pc:chgData name="Roberto Gallardo" userId="49a044883f185952" providerId="LiveId" clId="{7E904AF1-F0BF-4174-B71C-D1E940C4BCE7}" dt="2023-02-28T00:01:33.926" v="142" actId="1076"/>
        <pc:sldMkLst>
          <pc:docMk/>
          <pc:sldMk cId="1259856727" sldId="292"/>
        </pc:sldMkLst>
        <pc:picChg chg="add mod">
          <ac:chgData name="Roberto Gallardo" userId="49a044883f185952" providerId="LiveId" clId="{7E904AF1-F0BF-4174-B71C-D1E940C4BCE7}" dt="2023-02-28T00:01:33.926" v="142" actId="1076"/>
          <ac:picMkLst>
            <pc:docMk/>
            <pc:sldMk cId="1259856727" sldId="292"/>
            <ac:picMk id="7" creationId="{21728780-9BDC-5D53-A4CF-66A6C1BF4093}"/>
          </ac:picMkLst>
        </pc:picChg>
      </pc:sldChg>
      <pc:sldChg chg="addSp modSp mod">
        <pc:chgData name="Roberto Gallardo" userId="49a044883f185952" providerId="LiveId" clId="{7E904AF1-F0BF-4174-B71C-D1E940C4BCE7}" dt="2023-02-27T23:58:59.092" v="63" actId="1076"/>
        <pc:sldMkLst>
          <pc:docMk/>
          <pc:sldMk cId="3324519687" sldId="293"/>
        </pc:sldMkLst>
        <pc:picChg chg="add mod">
          <ac:chgData name="Roberto Gallardo" userId="49a044883f185952" providerId="LiveId" clId="{7E904AF1-F0BF-4174-B71C-D1E940C4BCE7}" dt="2023-02-27T23:58:59.092" v="63" actId="1076"/>
          <ac:picMkLst>
            <pc:docMk/>
            <pc:sldMk cId="3324519687" sldId="293"/>
            <ac:picMk id="7" creationId="{06BF3FC9-8F41-C0C0-FEFC-65BB5B6BBE2B}"/>
          </ac:picMkLst>
        </pc:picChg>
      </pc:sldChg>
      <pc:sldChg chg="addSp modSp mod">
        <pc:chgData name="Roberto Gallardo" userId="49a044883f185952" providerId="LiveId" clId="{7E904AF1-F0BF-4174-B71C-D1E940C4BCE7}" dt="2023-02-27T23:58:13.695" v="40" actId="1076"/>
        <pc:sldMkLst>
          <pc:docMk/>
          <pc:sldMk cId="3256182630" sldId="295"/>
        </pc:sldMkLst>
        <pc:picChg chg="add mod">
          <ac:chgData name="Roberto Gallardo" userId="49a044883f185952" providerId="LiveId" clId="{7E904AF1-F0BF-4174-B71C-D1E940C4BCE7}" dt="2023-02-27T23:58:13.695" v="40" actId="1076"/>
          <ac:picMkLst>
            <pc:docMk/>
            <pc:sldMk cId="3256182630" sldId="295"/>
            <ac:picMk id="7" creationId="{C7FB37A9-4B36-ADA1-93A5-CA7DA36F00CC}"/>
          </ac:picMkLst>
        </pc:picChg>
      </pc:sldChg>
      <pc:sldChg chg="addSp modSp mod">
        <pc:chgData name="Roberto Gallardo" userId="49a044883f185952" providerId="LiveId" clId="{7E904AF1-F0BF-4174-B71C-D1E940C4BCE7}" dt="2023-02-27T23:58:37.082" v="51" actId="1076"/>
        <pc:sldMkLst>
          <pc:docMk/>
          <pc:sldMk cId="4057156843" sldId="296"/>
        </pc:sldMkLst>
        <pc:picChg chg="add mod">
          <ac:chgData name="Roberto Gallardo" userId="49a044883f185952" providerId="LiveId" clId="{7E904AF1-F0BF-4174-B71C-D1E940C4BCE7}" dt="2023-02-27T23:58:37.082" v="51" actId="1076"/>
          <ac:picMkLst>
            <pc:docMk/>
            <pc:sldMk cId="4057156843" sldId="296"/>
            <ac:picMk id="7" creationId="{A986807B-F109-DA57-4A57-90B376FB8A55}"/>
          </ac:picMkLst>
        </pc:picChg>
      </pc:sldChg>
      <pc:sldChg chg="addSp modSp mod">
        <pc:chgData name="Roberto Gallardo" userId="49a044883f185952" providerId="LiveId" clId="{7E904AF1-F0BF-4174-B71C-D1E940C4BCE7}" dt="2023-02-27T23:57:32.734" v="27" actId="1076"/>
        <pc:sldMkLst>
          <pc:docMk/>
          <pc:sldMk cId="2080110827" sldId="297"/>
        </pc:sldMkLst>
        <pc:picChg chg="add mod">
          <ac:chgData name="Roberto Gallardo" userId="49a044883f185952" providerId="LiveId" clId="{7E904AF1-F0BF-4174-B71C-D1E940C4BCE7}" dt="2023-02-27T23:57:32.734" v="27" actId="1076"/>
          <ac:picMkLst>
            <pc:docMk/>
            <pc:sldMk cId="2080110827" sldId="297"/>
            <ac:picMk id="6" creationId="{7C3A68A7-BBED-EF11-28B7-765D077B0EB9}"/>
          </ac:picMkLst>
        </pc:picChg>
      </pc:sldChg>
      <pc:sldChg chg="addSp modSp mod">
        <pc:chgData name="Roberto Gallardo" userId="49a044883f185952" providerId="LiveId" clId="{7E904AF1-F0BF-4174-B71C-D1E940C4BCE7}" dt="2023-02-27T23:57:16.550" v="20" actId="1076"/>
        <pc:sldMkLst>
          <pc:docMk/>
          <pc:sldMk cId="1532666867" sldId="298"/>
        </pc:sldMkLst>
        <pc:picChg chg="add mod">
          <ac:chgData name="Roberto Gallardo" userId="49a044883f185952" providerId="LiveId" clId="{7E904AF1-F0BF-4174-B71C-D1E940C4BCE7}" dt="2023-02-27T23:57:16.550" v="20" actId="1076"/>
          <ac:picMkLst>
            <pc:docMk/>
            <pc:sldMk cId="1532666867" sldId="298"/>
            <ac:picMk id="6" creationId="{790D5DD4-6BFD-2AB2-7CAD-1F1822C43EF8}"/>
          </ac:picMkLst>
        </pc:picChg>
      </pc:sldChg>
      <pc:sldChg chg="addSp modSp mod">
        <pc:chgData name="Roberto Gallardo" userId="49a044883f185952" providerId="LiveId" clId="{7E904AF1-F0BF-4174-B71C-D1E940C4BCE7}" dt="2023-02-28T00:02:34.754" v="176" actId="1076"/>
        <pc:sldMkLst>
          <pc:docMk/>
          <pc:sldMk cId="1951376777" sldId="299"/>
        </pc:sldMkLst>
        <pc:picChg chg="add mod">
          <ac:chgData name="Roberto Gallardo" userId="49a044883f185952" providerId="LiveId" clId="{7E904AF1-F0BF-4174-B71C-D1E940C4BCE7}" dt="2023-02-28T00:02:34.754" v="176" actId="1076"/>
          <ac:picMkLst>
            <pc:docMk/>
            <pc:sldMk cId="1951376777" sldId="299"/>
            <ac:picMk id="7" creationId="{0D78F8FC-3718-DFD6-E7B4-2763FE11C54B}"/>
          </ac:picMkLst>
        </pc:picChg>
      </pc:sldChg>
      <pc:sldChg chg="modSp mod">
        <pc:chgData name="Roberto Gallardo" userId="49a044883f185952" providerId="LiveId" clId="{7E904AF1-F0BF-4174-B71C-D1E940C4BCE7}" dt="2023-02-25T13:18:44.900" v="2" actId="20577"/>
        <pc:sldMkLst>
          <pc:docMk/>
          <pc:sldMk cId="1515423683" sldId="302"/>
        </pc:sldMkLst>
        <pc:spChg chg="mod">
          <ac:chgData name="Roberto Gallardo" userId="49a044883f185952" providerId="LiveId" clId="{7E904AF1-F0BF-4174-B71C-D1E940C4BCE7}" dt="2023-02-25T13:18:44.900" v="2" actId="20577"/>
          <ac:spMkLst>
            <pc:docMk/>
            <pc:sldMk cId="1515423683" sldId="302"/>
            <ac:spMk id="5" creationId="{6AE302AC-8931-4144-BE52-DD1A8BA82462}"/>
          </ac:spMkLst>
        </pc:spChg>
        <pc:spChg chg="mod">
          <ac:chgData name="Roberto Gallardo" userId="49a044883f185952" providerId="LiveId" clId="{7E904AF1-F0BF-4174-B71C-D1E940C4BCE7}" dt="2023-02-25T13:18:42.269" v="1" actId="20577"/>
          <ac:spMkLst>
            <pc:docMk/>
            <pc:sldMk cId="1515423683" sldId="302"/>
            <ac:spMk id="9" creationId="{E362A98F-7DCD-C67C-23CE-1BE182A133B4}"/>
          </ac:spMkLst>
        </pc:spChg>
      </pc:sldChg>
      <pc:sldChg chg="del">
        <pc:chgData name="Roberto Gallardo" userId="49a044883f185952" providerId="LiveId" clId="{7E904AF1-F0BF-4174-B71C-D1E940C4BCE7}" dt="2023-02-25T14:37:41.272" v="4" actId="47"/>
        <pc:sldMkLst>
          <pc:docMk/>
          <pc:sldMk cId="2841628872" sldId="303"/>
        </pc:sldMkLst>
      </pc:sldChg>
      <pc:sldChg chg="del">
        <pc:chgData name="Roberto Gallardo" userId="49a044883f185952" providerId="LiveId" clId="{7E904AF1-F0BF-4174-B71C-D1E940C4BCE7}" dt="2023-02-25T14:37:41.272" v="4" actId="47"/>
        <pc:sldMkLst>
          <pc:docMk/>
          <pc:sldMk cId="3084076302" sldId="304"/>
        </pc:sldMkLst>
      </pc:sldChg>
      <pc:sldChg chg="del">
        <pc:chgData name="Roberto Gallardo" userId="49a044883f185952" providerId="LiveId" clId="{7E904AF1-F0BF-4174-B71C-D1E940C4BCE7}" dt="2023-02-25T14:37:41.272" v="4" actId="47"/>
        <pc:sldMkLst>
          <pc:docMk/>
          <pc:sldMk cId="473712435" sldId="305"/>
        </pc:sldMkLst>
      </pc:sldChg>
      <pc:sldChg chg="add">
        <pc:chgData name="Roberto Gallardo" userId="49a044883f185952" providerId="LiveId" clId="{7E904AF1-F0BF-4174-B71C-D1E940C4BCE7}" dt="2023-02-25T14:37:37.265" v="3"/>
        <pc:sldMkLst>
          <pc:docMk/>
          <pc:sldMk cId="4203138883" sldId="307"/>
        </pc:sldMkLst>
      </pc:sldChg>
      <pc:sldChg chg="add">
        <pc:chgData name="Roberto Gallardo" userId="49a044883f185952" providerId="LiveId" clId="{7E904AF1-F0BF-4174-B71C-D1E940C4BCE7}" dt="2023-02-25T14:37:37.265" v="3"/>
        <pc:sldMkLst>
          <pc:docMk/>
          <pc:sldMk cId="20509024" sldId="308"/>
        </pc:sldMkLst>
      </pc:sldChg>
      <pc:sldChg chg="add">
        <pc:chgData name="Roberto Gallardo" userId="49a044883f185952" providerId="LiveId" clId="{7E904AF1-F0BF-4174-B71C-D1E940C4BCE7}" dt="2023-02-25T14:37:37.265" v="3"/>
        <pc:sldMkLst>
          <pc:docMk/>
          <pc:sldMk cId="1733557046" sldId="309"/>
        </pc:sldMkLst>
      </pc:sldChg>
      <pc:sldChg chg="add">
        <pc:chgData name="Roberto Gallardo" userId="49a044883f185952" providerId="LiveId" clId="{7E904AF1-F0BF-4174-B71C-D1E940C4BCE7}" dt="2023-02-25T14:37:37.265" v="3"/>
        <pc:sldMkLst>
          <pc:docMk/>
          <pc:sldMk cId="3201321401"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2/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Dare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29A6583-7B45-31C8-7FA4-B9404ECE2953}"/>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7335570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96AD6843-EBF4-6B21-9ABC-1D096E1901FC}"/>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32013214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FB7EB6C8-A634-7EA1-BE65-4BD3A50FBF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790D5DD4-6BFD-2AB2-7CAD-1F1822C43E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7C3A68A7-BBED-EF11-28B7-765D077B0E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0AF85F1-6DC6-FC75-5A5B-F40927E144D9}"/>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C7FB37A9-4B36-ADA1-93A5-CA7DA36F00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7401"/>
            <a:ext cx="6365875" cy="4501674"/>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A594A3C1-25F2-A744-FF6F-6E45061581B8}"/>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A986807B-F109-DA57-4A57-90B376FB8A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0076" y="1426935"/>
            <a:ext cx="6362699" cy="4499429"/>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027B4702-FD14-22AF-94A3-4CC15EE54717}"/>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06BF3FC9-8F41-C0C0-FEFC-65BB5B6BBE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02237" y="1435699"/>
            <a:ext cx="6337363" cy="448151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EE09F3B1-FEF1-5623-342C-2DF3488B89DB}"/>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41A4366E-1F15-45FB-1576-A5659400FD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4938" y="1438468"/>
            <a:ext cx="6327837" cy="4474775"/>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28A0D910-5C7A-5DD0-DF3A-93C0E74D6A44}"/>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976E2FA-ACBE-AF83-ED93-3EFE5E3F1B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2138" y="1421755"/>
            <a:ext cx="6367462" cy="4502796"/>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851AA5FA-1539-9A4D-1384-82208254EA00}"/>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E2A0A632-BF6A-FAE6-DA05-FEC611648D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0926" y="1415102"/>
            <a:ext cx="6362700" cy="4499429"/>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681E3649-040A-05B3-1EA4-028B65896F5E}"/>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553339A-C61E-9A4F-456C-55E1D65A95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4059"/>
            <a:ext cx="6377772" cy="4510087"/>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F18A3544-E1ED-2ADF-D05C-E68323620AB2}"/>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50086737-A89D-A2CA-15FB-FBC992D02F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9982" y="1422173"/>
            <a:ext cx="6362699" cy="4499428"/>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3EC50230-CDA7-EEB6-94E4-8E7AEF461574}"/>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1EBE5B74-D106-B31A-CF14-2FF1FE007A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8562" y="1428750"/>
            <a:ext cx="6371038" cy="4505325"/>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11933E4E-EBB4-8CB2-B41C-BEA3C3DE0759}"/>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B9D14F1-27DC-B5CF-5DAE-C6720A4052A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0858"/>
            <a:ext cx="6362700" cy="4499429"/>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E0C6D5D9-253B-4798-3F69-1A14FCF2094D}"/>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21728780-9BDC-5D53-A4CF-66A6C1BF40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0710"/>
            <a:ext cx="6361381" cy="4498496"/>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2F62D337-D08A-DCEA-93FE-1193A3C10239}"/>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DDF3BB05-7A21-9AE3-5D5D-671468664E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4874"/>
            <a:ext cx="6362699" cy="4499428"/>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ED24E4E6-FA8F-551D-4E0F-DB913811AED4}"/>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E215DF62-BF53-41CA-4939-973D6D90EE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5879"/>
            <a:ext cx="6362700" cy="4499428"/>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2F175F41-EC89-0153-06DF-AE0FF078C1BC}"/>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0D78F8FC-3718-DFD6-E7B4-2763FE11C5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935"/>
            <a:ext cx="6362700" cy="4499429"/>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6A03F917-6E15-F513-7A54-0B545A514F28}"/>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F8753725-81CB-14B7-2A76-DF014EB3FD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8602"/>
            <a:ext cx="6368403" cy="450346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8F0124DE-FC34-CBF0-506E-C8695BECE5E7}"/>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D329BCE8-42AA-F577-A9ED-FE21DEAA08E9}"/>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DD536AE0-26C5-717C-DD33-426BADA3E4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17836"/>
            <a:ext cx="6375137" cy="4508224"/>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8055D942-7A61-85ED-C9F4-6AA841050491}"/>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B9D4C6B-C111-A647-34B2-FAB92191BB66}"/>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E83625D-6D15-AA80-4461-2324B6B5FFF3}"/>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36024" y="2542482"/>
            <a:ext cx="1198148" cy="2091613"/>
            <a:chOff x="8040444" y="2992125"/>
            <a:chExt cx="1198148" cy="2091613"/>
          </a:xfrm>
        </p:grpSpPr>
        <p:sp>
          <p:nvSpPr>
            <p:cNvPr id="21" name="TextBox 20">
              <a:extLst>
                <a:ext uri="{FF2B5EF4-FFF2-40B4-BE49-F238E27FC236}">
                  <a16:creationId xmlns:a16="http://schemas.microsoft.com/office/drawing/2014/main" id="{9A68ADBE-AECC-EE60-7E94-3675B33E08AE}"/>
                </a:ext>
              </a:extLst>
            </p:cNvPr>
            <p:cNvSpPr txBox="1"/>
            <p:nvPr/>
          </p:nvSpPr>
          <p:spPr>
            <a:xfrm>
              <a:off x="8040444" y="365586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0</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50837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300165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a:endCxn id="21" idx="0"/>
            </p:cNvCxnSpPr>
            <p:nvPr/>
          </p:nvCxnSpPr>
          <p:spPr>
            <a:xfrm>
              <a:off x="8639518" y="2992125"/>
              <a:ext cx="0" cy="66373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39518" y="4548415"/>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44700" y="2925251"/>
            <a:ext cx="1198148" cy="1376313"/>
            <a:chOff x="10485745" y="4105362"/>
            <a:chExt cx="1198148" cy="137631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434140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4.0</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20612" y="548167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23650" y="410536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4105362"/>
              <a:ext cx="0" cy="2360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p:cNvCxnSpPr>
            <p:nvPr/>
          </p:nvCxnSpPr>
          <p:spPr>
            <a:xfrm>
              <a:off x="11073275" y="5199661"/>
              <a:ext cx="0" cy="2820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E0512030-47DE-3D53-47A1-2D8150C12966}"/>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60DD11E0-D1F0-7D6C-3AB1-1A767C71ADB1}"/>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9B7C9CF2-0DC9-BC4B-4319-353C0950C619}"/>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2D788284-D291-4788-69FD-6B624ECBE008}"/>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7D18E2B2-68C8-EA7C-A82A-8294485C96F1}"/>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B8AD1490-83FB-0141-260B-55582BACFA67}"/>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AF508EB2-9ECC-C2D8-1D12-C88EC48BF768}"/>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42031388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65A4F264-14E4-23E5-CF6E-20EB4D91FDD9}"/>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205090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93</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70</cp:revision>
  <dcterms:created xsi:type="dcterms:W3CDTF">2022-07-04T13:32:28Z</dcterms:created>
  <dcterms:modified xsi:type="dcterms:W3CDTF">2023-02-28T00:03:16Z</dcterms:modified>
</cp:coreProperties>
</file>